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3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65AB0A-5E6A-4A6E-A466-98EA7772229E}" v="13" dt="2024-09-05T14:58:42.2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151" d="100"/>
          <a:sy n="151" d="100"/>
        </p:scale>
        <p:origin x="2358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8-23T14:14:00.863" v="68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8-23T14:14:00.863" v="68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  <pc:docChgLst>
    <pc:chgData name="vonWaldow, Ulrich" userId="c64b3fe1-2fbf-4408-adc4-30add62e991f" providerId="ADAL" clId="{7565AB0A-5E6A-4A6E-A466-98EA7772229E}"/>
    <pc:docChg chg="undo redo custSel addSld delSld modSld modMainMaster replTag">
      <pc:chgData name="vonWaldow, Ulrich" userId="c64b3fe1-2fbf-4408-adc4-30add62e991f" providerId="ADAL" clId="{7565AB0A-5E6A-4A6E-A466-98EA7772229E}" dt="2024-09-06T08:59:14.165" v="167" actId="20577"/>
      <pc:docMkLst>
        <pc:docMk/>
      </pc:docMkLst>
      <pc:sldChg chg="addSp delSp modSp del mod chgLayout">
        <pc:chgData name="vonWaldow, Ulrich" userId="c64b3fe1-2fbf-4408-adc4-30add62e991f" providerId="ADAL" clId="{7565AB0A-5E6A-4A6E-A466-98EA7772229E}" dt="2024-09-05T14:59:29.602" v="165" actId="47"/>
        <pc:sldMkLst>
          <pc:docMk/>
          <pc:sldMk cId="1636317749" sldId="262"/>
        </pc:sldMkLst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" creationId="{D73F825C-727C-2881-28CD-9D23E193C829}"/>
          </ac:spMkLst>
        </pc:spChg>
        <pc:spChg chg="add del mod">
          <ac:chgData name="vonWaldow, Ulrich" userId="c64b3fe1-2fbf-4408-adc4-30add62e991f" providerId="ADAL" clId="{7565AB0A-5E6A-4A6E-A466-98EA7772229E}" dt="2024-09-05T13:53:44.371" v="38" actId="478"/>
          <ac:spMkLst>
            <pc:docMk/>
            <pc:sldMk cId="1636317749" sldId="262"/>
            <ac:spMk id="2" creationId="{DD6C6BF0-988A-A0EA-B1DA-C8D082C8539C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" creationId="{DAEE5483-2DCE-F2BF-97DF-C76EA574018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" creationId="{2F1F0104-0A68-25C5-83D1-B91506A8B76D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" creationId="{1C482F3B-4911-EC2B-7EBA-C9311322B2C1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6" creationId="{9209499D-3497-0109-4694-DFF1065850A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7" creationId="{9C825717-0001-4C27-FA44-FE192A7E10EF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8" creationId="{7E72F29D-E7AF-919C-711D-F977C952FC24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9" creationId="{299F6727-3F23-B877-C6B9-48B76733903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0" creationId="{F5A25F6C-5E5B-28D8-CEB0-CE9B6C4E8D8B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1" creationId="{2D9399BB-83C5-09F3-F3C5-FBCEE4E20CF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2" creationId="{2748033D-040C-4580-0AF5-1881C79C299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3" creationId="{A9D8FFC0-C993-48FB-F437-032339C3EE6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4" creationId="{74C9B6D3-625F-4486-9FE3-9CFEF9870A90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5" creationId="{99D91333-510A-91AD-32A0-2F814BDCC1D2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6" creationId="{A7640E92-8D55-1835-74F9-421398AD0083}"/>
          </ac:spMkLst>
        </pc:spChg>
        <pc:spChg chg="add del mo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17" creationId="{1BB415E7-B2CC-F79B-0A4A-3BCB284D71B9}"/>
          </ac:spMkLst>
        </pc:spChg>
        <pc:spChg chg="mod ord">
          <ac:chgData name="vonWaldow, Ulrich" userId="c64b3fe1-2fbf-4408-adc4-30add62e991f" providerId="ADAL" clId="{7565AB0A-5E6A-4A6E-A466-98EA7772229E}" dt="2024-09-05T14:58:33.450" v="13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2" creationId="{048F7D3C-2A73-0CA3-FEE0-0E951B9AA65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28" creationId="{02884E67-468E-0855-DF3C-A8D0E2177449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0" creationId="{7FB9CF18-A9C6-5785-50F8-0E78D149BF4E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2" creationId="{A3A628C4-84F3-50A8-C9B5-CB791DF59455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34" creationId="{AA6366A9-1954-5255-B43B-40E8C31C88F3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7565AB0A-5E6A-4A6E-A466-98EA7772229E}" dt="2024-09-05T14:58:32.951" v="13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7565AB0A-5E6A-4A6E-A466-98EA7772229E}" dt="2024-09-05T14:58:33.474" v="13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addSp modSp new mod">
        <pc:chgData name="vonWaldow, Ulrich" userId="c64b3fe1-2fbf-4408-adc4-30add62e991f" providerId="ADAL" clId="{7565AB0A-5E6A-4A6E-A466-98EA7772229E}" dt="2024-09-06T08:59:14.165" v="167" actId="20577"/>
        <pc:sldMkLst>
          <pc:docMk/>
          <pc:sldMk cId="1004921193" sldId="263"/>
        </pc:sldMkLst>
        <pc:spChg chg="mod">
          <ac:chgData name="vonWaldow, Ulrich" userId="c64b3fe1-2fbf-4408-adc4-30add62e991f" providerId="ADAL" clId="{7565AB0A-5E6A-4A6E-A466-98EA7772229E}" dt="2024-09-05T14:58:07.021" v="115" actId="948"/>
          <ac:spMkLst>
            <pc:docMk/>
            <pc:sldMk cId="1004921193" sldId="263"/>
            <ac:spMk id="2" creationId="{F3A25C97-20B6-004A-E23B-F830284AA463}"/>
          </ac:spMkLst>
        </pc:spChg>
        <pc:spChg chg="mod">
          <ac:chgData name="vonWaldow, Ulrich" userId="c64b3fe1-2fbf-4408-adc4-30add62e991f" providerId="ADAL" clId="{7565AB0A-5E6A-4A6E-A466-98EA7772229E}" dt="2024-09-05T14:58:24.840" v="132" actId="20577"/>
          <ac:spMkLst>
            <pc:docMk/>
            <pc:sldMk cId="1004921193" sldId="263"/>
            <ac:spMk id="3" creationId="{83EF5DCC-858A-4F8C-B1FA-82C5DA1E57B5}"/>
          </ac:spMkLst>
        </pc:spChg>
        <pc:spChg chg="mod">
          <ac:chgData name="vonWaldow, Ulrich" userId="c64b3fe1-2fbf-4408-adc4-30add62e991f" providerId="ADAL" clId="{7565AB0A-5E6A-4A6E-A466-98EA7772229E}" dt="2024-09-05T14:58:18.224" v="129" actId="20577"/>
          <ac:spMkLst>
            <pc:docMk/>
            <pc:sldMk cId="1004921193" sldId="263"/>
            <ac:spMk id="4" creationId="{3AAE7F27-43AF-9CA3-2563-10CF0A45ECBA}"/>
          </ac:spMkLst>
        </pc:spChg>
        <pc:spChg chg="mod">
          <ac:chgData name="vonWaldow, Ulrich" userId="c64b3fe1-2fbf-4408-adc4-30add62e991f" providerId="ADAL" clId="{7565AB0A-5E6A-4A6E-A466-98EA7772229E}" dt="2024-09-05T14:59:19.602" v="162" actId="20577"/>
          <ac:spMkLst>
            <pc:docMk/>
            <pc:sldMk cId="1004921193" sldId="263"/>
            <ac:spMk id="5" creationId="{419D2C72-1837-CE48-7371-6B81A5F78D15}"/>
          </ac:spMkLst>
        </pc:spChg>
        <pc:spChg chg="mod">
          <ac:chgData name="vonWaldow, Ulrich" userId="c64b3fe1-2fbf-4408-adc4-30add62e991f" providerId="ADAL" clId="{7565AB0A-5E6A-4A6E-A466-98EA7772229E}" dt="2024-09-06T08:59:14.165" v="167" actId="20577"/>
          <ac:spMkLst>
            <pc:docMk/>
            <pc:sldMk cId="1004921193" sldId="263"/>
            <ac:spMk id="6" creationId="{50471D72-FBBA-FA72-9469-7A6EA321344F}"/>
          </ac:spMkLst>
        </pc:spChg>
        <pc:spChg chg="mod">
          <ac:chgData name="vonWaldow, Ulrich" userId="c64b3fe1-2fbf-4408-adc4-30add62e991f" providerId="ADAL" clId="{7565AB0A-5E6A-4A6E-A466-98EA7772229E}" dt="2024-09-05T14:58:10.394" v="127" actId="20577"/>
          <ac:spMkLst>
            <pc:docMk/>
            <pc:sldMk cId="1004921193" sldId="263"/>
            <ac:spMk id="7" creationId="{C70BC293-E049-C4E3-AFBF-5137932A17FF}"/>
          </ac:spMkLst>
        </pc:spChg>
        <pc:spChg chg="mod">
          <ac:chgData name="vonWaldow, Ulrich" userId="c64b3fe1-2fbf-4408-adc4-30add62e991f" providerId="ADAL" clId="{7565AB0A-5E6A-4A6E-A466-98EA7772229E}" dt="2024-09-05T14:57:50.260" v="85" actId="20577"/>
          <ac:spMkLst>
            <pc:docMk/>
            <pc:sldMk cId="1004921193" sldId="263"/>
            <ac:spMk id="8" creationId="{BDED3AE8-5F28-9741-503B-4BC90B67A9A8}"/>
          </ac:spMkLst>
        </pc:spChg>
        <pc:spChg chg="mod">
          <ac:chgData name="vonWaldow, Ulrich" userId="c64b3fe1-2fbf-4408-adc4-30add62e991f" providerId="ADAL" clId="{7565AB0A-5E6A-4A6E-A466-98EA7772229E}" dt="2024-09-05T14:58:02.514" v="103" actId="20577"/>
          <ac:spMkLst>
            <pc:docMk/>
            <pc:sldMk cId="1004921193" sldId="263"/>
            <ac:spMk id="9" creationId="{326F6D61-B107-67C2-2753-CB0AAD1F7206}"/>
          </ac:spMkLst>
        </pc:spChg>
        <pc:spChg chg="mod">
          <ac:chgData name="vonWaldow, Ulrich" userId="c64b3fe1-2fbf-4408-adc4-30add62e991f" providerId="ADAL" clId="{7565AB0A-5E6A-4A6E-A466-98EA7772229E}" dt="2024-09-05T14:57:44.369" v="72" actId="20577"/>
          <ac:spMkLst>
            <pc:docMk/>
            <pc:sldMk cId="1004921193" sldId="263"/>
            <ac:spMk id="10" creationId="{22A515A0-88C9-D952-6304-0FD9186681CC}"/>
          </ac:spMkLst>
        </pc:spChg>
        <pc:spChg chg="mod">
          <ac:chgData name="vonWaldow, Ulrich" userId="c64b3fe1-2fbf-4408-adc4-30add62e991f" providerId="ADAL" clId="{7565AB0A-5E6A-4A6E-A466-98EA7772229E}" dt="2024-09-05T14:57:46.961" v="78" actId="20577"/>
          <ac:spMkLst>
            <pc:docMk/>
            <pc:sldMk cId="1004921193" sldId="263"/>
            <ac:spMk id="11" creationId="{55D1155D-6537-BC8D-24DB-CE58FE758C72}"/>
          </ac:spMkLst>
        </pc:spChg>
        <pc:spChg chg="mod">
          <ac:chgData name="vonWaldow, Ulrich" userId="c64b3fe1-2fbf-4408-adc4-30add62e991f" providerId="ADAL" clId="{7565AB0A-5E6A-4A6E-A466-98EA7772229E}" dt="2024-09-05T14:58:54.410" v="144" actId="20577"/>
          <ac:spMkLst>
            <pc:docMk/>
            <pc:sldMk cId="1004921193" sldId="263"/>
            <ac:spMk id="12" creationId="{10DF1904-0CD5-766F-8CA7-52F8E33231F8}"/>
          </ac:spMkLst>
        </pc:spChg>
        <pc:spChg chg="mod">
          <ac:chgData name="vonWaldow, Ulrich" userId="c64b3fe1-2fbf-4408-adc4-30add62e991f" providerId="ADAL" clId="{7565AB0A-5E6A-4A6E-A466-98EA7772229E}" dt="2024-09-05T14:59:06.938" v="156" actId="20577"/>
          <ac:spMkLst>
            <pc:docMk/>
            <pc:sldMk cId="1004921193" sldId="263"/>
            <ac:spMk id="13" creationId="{D6D99593-C6C3-799D-677A-1AEFCC2673D4}"/>
          </ac:spMkLst>
        </pc:spChg>
        <pc:spChg chg="mod">
          <ac:chgData name="vonWaldow, Ulrich" userId="c64b3fe1-2fbf-4408-adc4-30add62e991f" providerId="ADAL" clId="{7565AB0A-5E6A-4A6E-A466-98EA7772229E}" dt="2024-09-05T14:58:57.784" v="149" actId="20577"/>
          <ac:spMkLst>
            <pc:docMk/>
            <pc:sldMk cId="1004921193" sldId="263"/>
            <ac:spMk id="14" creationId="{284C7DC3-1C26-DA16-5CD1-98C620C31FB4}"/>
          </ac:spMkLst>
        </pc:spChg>
        <pc:spChg chg="mod">
          <ac:chgData name="vonWaldow, Ulrich" userId="c64b3fe1-2fbf-4408-adc4-30add62e991f" providerId="ADAL" clId="{7565AB0A-5E6A-4A6E-A466-98EA7772229E}" dt="2024-09-05T14:59:09.843" v="158" actId="20577"/>
          <ac:spMkLst>
            <pc:docMk/>
            <pc:sldMk cId="1004921193" sldId="263"/>
            <ac:spMk id="15" creationId="{301CBC02-D099-A002-AA2B-0737D8B8723E}"/>
          </ac:spMkLst>
        </pc:spChg>
        <pc:spChg chg="mod">
          <ac:chgData name="vonWaldow, Ulrich" userId="c64b3fe1-2fbf-4408-adc4-30add62e991f" providerId="ADAL" clId="{7565AB0A-5E6A-4A6E-A466-98EA7772229E}" dt="2024-09-05T14:59:00.487" v="154" actId="20577"/>
          <ac:spMkLst>
            <pc:docMk/>
            <pc:sldMk cId="1004921193" sldId="263"/>
            <ac:spMk id="16" creationId="{2CE00CF0-95E4-F044-16AB-D6D4BBDD8BF0}"/>
          </ac:spMkLst>
        </pc:spChg>
        <pc:spChg chg="mod">
          <ac:chgData name="vonWaldow, Ulrich" userId="c64b3fe1-2fbf-4408-adc4-30add62e991f" providerId="ADAL" clId="{7565AB0A-5E6A-4A6E-A466-98EA7772229E}" dt="2024-09-05T14:59:12.505" v="160" actId="20577"/>
          <ac:spMkLst>
            <pc:docMk/>
            <pc:sldMk cId="1004921193" sldId="263"/>
            <ac:spMk id="17" creationId="{DE28C497-71E6-BB38-BAA5-A50C015D7F2C}"/>
          </ac:spMkLst>
        </pc:spChg>
        <pc:graphicFrameChg chg="add mod ord modVis replST">
          <ac:chgData name="vonWaldow, Ulrich" userId="c64b3fe1-2fbf-4408-adc4-30add62e991f" providerId="ADAL" clId="{7565AB0A-5E6A-4A6E-A466-98EA7772229E}" dt="2024-09-05T14:58:07.034" v="119"/>
          <ac:graphicFrameMkLst>
            <pc:docMk/>
            <pc:sldMk cId="1004921193" sldId="263"/>
            <ac:graphicFrameMk id="18" creationId="{DCCB58E3-701A-4423-CE8F-F617D94DA2D3}"/>
          </ac:graphicFrameMkLst>
        </pc:graphicFrameChg>
      </pc:sldChg>
      <pc:sldMasterChg chg="modSldLayout">
        <pc:chgData name="vonWaldow, Ulrich" userId="c64b3fe1-2fbf-4408-adc4-30add62e991f" providerId="ADAL" clId="{7565AB0A-5E6A-4A6E-A466-98EA7772229E}" dt="2024-09-05T14:58:42.291" v="139" actId="207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7565AB0A-5E6A-4A6E-A466-98EA7772229E}" dt="2024-09-05T14:58:42.291" v="139" actId="207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7565AB0A-5E6A-4A6E-A466-98EA7772229E}" dt="2024-09-05T14:58:42.291" v="139" actId="207"/>
            <ac:spMkLst>
              <pc:docMk/>
              <pc:sldMasterMk cId="3620642421" sldId="2147483927"/>
              <pc:sldLayoutMk cId="610450036" sldId="2147483960"/>
              <ac:spMk id="18" creationId="{E8A4FF14-553B-08AC-2A2B-6F1C3B25BB0B}"/>
            </ac:spMkLst>
          </pc:spChg>
          <pc:spChg chg="mod">
            <ac:chgData name="vonWaldow, Ulrich" userId="c64b3fe1-2fbf-4408-adc4-30add62e991f" providerId="ADAL" clId="{7565AB0A-5E6A-4A6E-A466-98EA7772229E}" dt="2024-08-26T10:57:31.730" v="1" actId="14100"/>
            <ac:spMkLst>
              <pc:docMk/>
              <pc:sldMasterMk cId="3620642421" sldId="2147483927"/>
              <pc:sldLayoutMk cId="610450036" sldId="2147483960"/>
              <ac:spMk id="31" creationId="{B76B3A3E-D5B9-E395-0E5C-101C76045CC7}"/>
            </ac:spMkLst>
          </pc:spChg>
          <pc:spChg chg="mod">
            <ac:chgData name="vonWaldow, Ulrich" userId="c64b3fe1-2fbf-4408-adc4-30add62e991f" providerId="ADAL" clId="{7565AB0A-5E6A-4A6E-A466-98EA7772229E}" dt="2024-08-26T10:57:38.453" v="3" actId="6549"/>
            <ac:spMkLst>
              <pc:docMk/>
              <pc:sldMasterMk cId="3620642421" sldId="2147483927"/>
              <pc:sldLayoutMk cId="610450036" sldId="2147483960"/>
              <ac:spMk id="44" creationId="{917773B7-62C0-0443-00E0-8FF1D8BEBE45}"/>
            </ac:spMkLst>
          </pc:spChg>
          <pc:spChg chg="mod">
            <ac:chgData name="vonWaldow, Ulrich" userId="c64b3fe1-2fbf-4408-adc4-30add62e991f" providerId="ADAL" clId="{7565AB0A-5E6A-4A6E-A466-98EA7772229E}" dt="2024-08-26T10:58:04.057" v="17" actId="20577"/>
            <ac:spMkLst>
              <pc:docMk/>
              <pc:sldMasterMk cId="3620642421" sldId="2147483927"/>
              <pc:sldLayoutMk cId="610450036" sldId="2147483960"/>
              <ac:spMk id="60" creationId="{E3937068-94E5-CCC7-1A40-53573519CBD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4478123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Lösungskonz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Potenziale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CCB58E3-701A-4423-CE8F-F617D94DA2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64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CB58E3-701A-4423-CE8F-F617D94D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3A25C97-20B6-004A-E23B-F830284AA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3EF5DCC-858A-4F8C-B1FA-82C5DA1E57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E7F27-43AF-9CA3-2563-10CF0A45EC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19D2C72-1837-CE48-7371-6B81A5F78D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471D72-FBBA-FA72-9469-7A6EA32134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Picture_1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70BC293-E049-C4E3-AFBF-5137932A17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ndustr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DED3AE8-5F28-9741-503B-4BC90B67A9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26F6D61-B107-67C2-2753-CB0AAD1F72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2A515A0-88C9-D952-6304-0FD9186681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5D1155D-6537-BC8D-24DB-CE58FE758C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0DF1904-0CD5-766F-8CA7-52F8E33231F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6D99593-C6C3-799D-677A-1AEFCC2673D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84C7DC3-1C26-DA16-5CD1-98C620C31FB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01CBC02-D099-A002-AA2B-0737D8B8723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CE00CF0-95E4-F044-16AB-D6D4BBDD8B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E28C497-71E6-BB38-BAA5-A50C015D7F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</p:spTree>
    <p:extLst>
      <p:ext uri="{BB962C8B-B14F-4D97-AF65-F5344CB8AC3E}">
        <p14:creationId xmlns:p14="http://schemas.microsoft.com/office/powerpoint/2010/main" val="1004921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6T08:59:1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